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4" r:id="rId4"/>
  </p:sldMasterIdLst>
  <p:handoutMasterIdLst>
    <p:handoutMasterId r:id="rId24"/>
  </p:handoutMasterIdLst>
  <p:sldIdLst>
    <p:sldId id="256" r:id="rId5"/>
    <p:sldId id="269" r:id="rId6"/>
    <p:sldId id="276" r:id="rId7"/>
    <p:sldId id="278" r:id="rId8"/>
    <p:sldId id="279" r:id="rId9"/>
    <p:sldId id="271" r:id="rId10"/>
    <p:sldId id="272" r:id="rId11"/>
    <p:sldId id="277" r:id="rId12"/>
    <p:sldId id="275" r:id="rId13"/>
    <p:sldId id="282" r:id="rId14"/>
    <p:sldId id="283" r:id="rId15"/>
    <p:sldId id="284" r:id="rId16"/>
    <p:sldId id="285" r:id="rId17"/>
    <p:sldId id="286" r:id="rId18"/>
    <p:sldId id="287" r:id="rId19"/>
    <p:sldId id="288" r:id="rId20"/>
    <p:sldId id="289" r:id="rId21"/>
    <p:sldId id="290" r:id="rId22"/>
    <p:sldId id="291" r:id="rId2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4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98"/>
    <a:srgbClr val="FF8200"/>
    <a:srgbClr val="A7A8AA"/>
    <a:srgbClr val="53565A"/>
    <a:srgbClr val="FF6600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 snapToObjects="1">
      <p:cViewPr varScale="1">
        <p:scale>
          <a:sx n="78" d="100"/>
          <a:sy n="78" d="100"/>
        </p:scale>
        <p:origin x="1356" y="90"/>
      </p:cViewPr>
      <p:guideLst>
        <p:guide orient="horz" pos="2160"/>
        <p:guide pos="445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2DB7C4-3A9A-CF40-A413-EA344E2C5F9D}" type="datetimeFigureOut">
              <a:rPr lang="en-US" smtClean="0"/>
              <a:pPr/>
              <a:t>2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27654E-5088-2343-80C1-0B48A07844BC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09141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NA_Cover_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56745" y="216177"/>
            <a:ext cx="7425926" cy="942147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ver Slide Title and Second Line If Necessary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6745" y="1185345"/>
            <a:ext cx="7425926" cy="3909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of Presentation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7738" y="6113258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6745" y="6333820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  <p:pic>
        <p:nvPicPr>
          <p:cNvPr id="13" name="Picture 12" descr="Elsevier_Tree_Logo_Whit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04655" y="359748"/>
            <a:ext cx="688848" cy="798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s &amp; 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/>
              <a:t>Sources &amp; Notes: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75433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40324_el_ppt_section_dna_A-smal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Picture 2" descr="Elsevier_Tree_Logo_Whit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04655" y="359748"/>
            <a:ext cx="688848" cy="798576"/>
          </a:xfrm>
          <a:prstGeom prst="rect">
            <a:avLst/>
          </a:prstGeom>
        </p:spPr>
      </p:pic>
      <p:sp>
        <p:nvSpPr>
          <p:cNvPr id="4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54908" y="3355412"/>
            <a:ext cx="8538593" cy="1718018"/>
          </a:xfrm>
          <a:prstGeom prst="rect">
            <a:avLst/>
          </a:prstGeom>
        </p:spPr>
        <p:txBody>
          <a:bodyPr vert="horz"/>
          <a:lstStyle>
            <a:lvl1pPr>
              <a:buNone/>
              <a:defRPr sz="1600" baseline="0">
                <a:solidFill>
                  <a:srgbClr val="FFFFFF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US" dirty="0"/>
              <a:t>Add section intro text here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4147" y="2790199"/>
            <a:ext cx="8539355" cy="638704"/>
          </a:xfrm>
          <a:prstGeom prst="rect">
            <a:avLst/>
          </a:prstGeom>
        </p:spPr>
        <p:txBody>
          <a:bodyPr vert="horz"/>
          <a:lstStyle>
            <a:lvl1pPr>
              <a:buNone/>
              <a:defRPr sz="3600">
                <a:solidFill>
                  <a:srgbClr val="FFFFFF"/>
                </a:solidFill>
              </a:defRPr>
            </a:lvl1pPr>
            <a:lvl2pPr>
              <a:buNone/>
              <a:defRPr sz="3600"/>
            </a:lvl2pPr>
            <a:lvl3pPr>
              <a:buNone/>
              <a:defRPr sz="3600"/>
            </a:lvl3pPr>
            <a:lvl4pPr>
              <a:buNone/>
              <a:defRPr sz="3600"/>
            </a:lvl4pPr>
            <a:lvl5pPr>
              <a:buNone/>
              <a:defRPr sz="3600"/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140324_el_ppt_section_dna_A-small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54909" y="2109039"/>
            <a:ext cx="8538594" cy="1718018"/>
          </a:xfrm>
          <a:prstGeom prst="rect">
            <a:avLst/>
          </a:prstGeom>
        </p:spPr>
        <p:txBody>
          <a:bodyPr vert="horz"/>
          <a:lstStyle>
            <a:lvl1pPr>
              <a:buNone/>
              <a:defRPr sz="1600">
                <a:solidFill>
                  <a:srgbClr val="FFFFFF"/>
                </a:solidFill>
              </a:defRPr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4148" y="1433815"/>
            <a:ext cx="3700462" cy="638704"/>
          </a:xfrm>
          <a:prstGeom prst="rect">
            <a:avLst/>
          </a:prstGeom>
        </p:spPr>
        <p:txBody>
          <a:bodyPr vert="horz"/>
          <a:lstStyle>
            <a:lvl1pPr>
              <a:buNone/>
              <a:defRPr sz="3600">
                <a:solidFill>
                  <a:srgbClr val="FFFFFF"/>
                </a:solidFill>
              </a:defRPr>
            </a:lvl1pPr>
            <a:lvl2pPr>
              <a:buNone/>
              <a:defRPr sz="3600"/>
            </a:lvl2pPr>
            <a:lvl3pPr>
              <a:buNone/>
              <a:defRPr sz="3600"/>
            </a:lvl3pPr>
            <a:lvl4pPr>
              <a:buNone/>
              <a:defRPr sz="3600"/>
            </a:lvl4pPr>
            <a:lvl5pPr>
              <a:buNone/>
              <a:defRPr sz="3600"/>
            </a:lvl5pPr>
          </a:lstStyle>
          <a:p>
            <a:pPr lvl="0"/>
            <a:r>
              <a:rPr lang="en-US" dirty="0"/>
              <a:t>Appendix</a:t>
            </a:r>
          </a:p>
        </p:txBody>
      </p:sp>
      <p:pic>
        <p:nvPicPr>
          <p:cNvPr id="5" name="Picture 4" descr="Elsevier_Tree_Logo_Whit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04655" y="359748"/>
            <a:ext cx="688848" cy="798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/>
              <a:t>Subtitle of Slid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11" name="Content Placeholder 1"/>
          <p:cNvSpPr>
            <a:spLocks noGrp="1"/>
          </p:cNvSpPr>
          <p:nvPr>
            <p:ph idx="13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/>
              <a:t>Sources &amp; Notes:</a:t>
            </a:r>
          </a:p>
        </p:txBody>
      </p:sp>
    </p:spTree>
    <p:extLst>
      <p:ext uri="{BB962C8B-B14F-4D97-AF65-F5344CB8AC3E}">
        <p14:creationId xmlns:p14="http://schemas.microsoft.com/office/powerpoint/2010/main" val="24485226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: Three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24905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‹Nº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42888" y="490940"/>
            <a:ext cx="8656636" cy="28575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663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NA_Cover_1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Picture 2" descr="Elsevier_Tree_Logo_White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04655" y="359748"/>
            <a:ext cx="688848" cy="798576"/>
          </a:xfrm>
          <a:prstGeom prst="rect">
            <a:avLst/>
          </a:prstGeom>
        </p:spPr>
      </p:pic>
      <p:sp>
        <p:nvSpPr>
          <p:cNvPr id="4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52604" y="5839347"/>
            <a:ext cx="3912178" cy="4944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roduct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idx="11" hasCustomPrompt="1"/>
          </p:nvPr>
        </p:nvSpPr>
        <p:spPr>
          <a:xfrm>
            <a:off x="261611" y="261219"/>
            <a:ext cx="3912176" cy="558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rgbClr val="FFFFFF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Solution Suite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51592" y="6113258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1592" y="6333820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256745" y="540429"/>
            <a:ext cx="7425926" cy="942147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ver Slide Title and Second Line If Necessary</a:t>
            </a:r>
          </a:p>
        </p:txBody>
      </p:sp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NA_Cover_3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56745" y="2765268"/>
            <a:ext cx="7425926" cy="942147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ver Slide Title and Second Line If Necessary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6745" y="3707415"/>
            <a:ext cx="7425926" cy="3909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of Presentation</a:t>
            </a:r>
          </a:p>
        </p:txBody>
      </p:sp>
      <p:sp>
        <p:nvSpPr>
          <p:cNvPr id="5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7738" y="6113258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6745" y="6333820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61611" y="5785305"/>
            <a:ext cx="3912178" cy="4944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rgbClr val="FF82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roduct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261611" y="261219"/>
            <a:ext cx="3912176" cy="5677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rgbClr val="FF82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Solution Suite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pic>
        <p:nvPicPr>
          <p:cNvPr id="9" name="Picture 8" descr="Elsevier_Tree_Logo_2C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0000" y="176173"/>
            <a:ext cx="7425926" cy="942147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3600" baseline="0">
                <a:solidFill>
                  <a:srgbClr val="FF8200"/>
                </a:solidFill>
              </a:defRPr>
            </a:lvl1pPr>
          </a:lstStyle>
          <a:p>
            <a:r>
              <a:rPr lang="en-US" dirty="0"/>
              <a:t>Cover Slide Title and Second Line If Necessary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0000" y="1118320"/>
            <a:ext cx="7425926" cy="3909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820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of Presentation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7738" y="6063253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6745" y="6273814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  <p:pic>
        <p:nvPicPr>
          <p:cNvPr id="6" name="Picture 5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pic>
        <p:nvPicPr>
          <p:cNvPr id="7" name="Picture 6" descr="placeholder-horizont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541067"/>
            <a:ext cx="9144000" cy="4130857"/>
          </a:xfrm>
          <a:prstGeom prst="rect">
            <a:avLst/>
          </a:prstGeom>
        </p:spPr>
      </p:pic>
      <p:pic>
        <p:nvPicPr>
          <p:cNvPr id="8" name="Picture 7" descr="140324_el_ppt_cover_dna_C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4565594"/>
            <a:ext cx="914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57981" y="431495"/>
            <a:ext cx="7425926" cy="942147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3600" baseline="0">
                <a:solidFill>
                  <a:srgbClr val="FF8200"/>
                </a:solidFill>
              </a:defRPr>
            </a:lvl1pPr>
          </a:lstStyle>
          <a:p>
            <a:r>
              <a:rPr lang="en-US" dirty="0"/>
              <a:t>Cover Slide Title and Second Line If Necessary</a:t>
            </a: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7738" y="6283275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6745" y="6503837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  <p:pic>
        <p:nvPicPr>
          <p:cNvPr id="5" name="Picture 4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251611" y="131206"/>
            <a:ext cx="3912176" cy="6688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rgbClr val="FF82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Solution Suite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61611" y="5795307"/>
            <a:ext cx="3912178" cy="5879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>
                <a:solidFill>
                  <a:srgbClr val="FF82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roduct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pic>
        <p:nvPicPr>
          <p:cNvPr id="8" name="Picture 7" descr="placeholder-horizont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541067"/>
            <a:ext cx="9144000" cy="4130857"/>
          </a:xfrm>
          <a:prstGeom prst="rect">
            <a:avLst/>
          </a:prstGeom>
        </p:spPr>
      </p:pic>
      <p:pic>
        <p:nvPicPr>
          <p:cNvPr id="9" name="Picture 8" descr="140324_el_ppt_cover_dna_C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4565594"/>
            <a:ext cx="914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47738" y="6053252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Present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endParaRPr lang="en-US" dirty="0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56745" y="6243811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Date XX_XX_XX</a:t>
            </a:r>
          </a:p>
        </p:txBody>
      </p:sp>
      <p:pic>
        <p:nvPicPr>
          <p:cNvPr id="4" name="Picture 3" descr="Elsevier_Tree_Logo_2C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287755" y="230017"/>
            <a:ext cx="4442374" cy="5879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rgbClr val="FF82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roduct </a:t>
            </a:r>
            <a:r>
              <a:rPr lang="en-US" dirty="0" err="1"/>
              <a:t>Wordmark</a:t>
            </a:r>
            <a:r>
              <a:rPr lang="en-US" dirty="0"/>
              <a:t> here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7756" y="848868"/>
            <a:ext cx="7524583" cy="5612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aseline="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of slide and or description of presentation</a:t>
            </a:r>
            <a:br>
              <a:rPr lang="en-US" dirty="0"/>
            </a:br>
            <a:r>
              <a:rPr lang="en-US" dirty="0"/>
              <a:t>Second Line If Necessary </a:t>
            </a:r>
          </a:p>
        </p:txBody>
      </p:sp>
      <p:pic>
        <p:nvPicPr>
          <p:cNvPr id="7" name="Picture 6" descr="placeholder-horizont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541067"/>
            <a:ext cx="9144000" cy="4130857"/>
          </a:xfrm>
          <a:prstGeom prst="rect">
            <a:avLst/>
          </a:prstGeom>
        </p:spPr>
      </p:pic>
      <p:pic>
        <p:nvPicPr>
          <p:cNvPr id="8" name="Picture 7" descr="140324_el_ppt_cover_dna_C.png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4565594"/>
            <a:ext cx="91440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5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/>
              <a:t>Sources &amp; Notes: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Place Picture her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/>
              <a:t>Sources &amp; Notes:</a:t>
            </a:r>
          </a:p>
        </p:txBody>
      </p:sp>
    </p:spTree>
    <p:extLst>
      <p:ext uri="{BB962C8B-B14F-4D97-AF65-F5344CB8AC3E}">
        <p14:creationId xmlns:p14="http://schemas.microsoft.com/office/powerpoint/2010/main" val="4885582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dirty="0"/>
              <a:t>Title of Slide</a:t>
            </a:r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/>
              <a:t>Sources &amp; Notes:</a:t>
            </a:r>
          </a:p>
        </p:txBody>
      </p:sp>
    </p:spTree>
    <p:extLst>
      <p:ext uri="{BB962C8B-B14F-4D97-AF65-F5344CB8AC3E}">
        <p14:creationId xmlns:p14="http://schemas.microsoft.com/office/powerpoint/2010/main" val="1062231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Title of Slide</a:t>
            </a:r>
          </a:p>
        </p:txBody>
      </p:sp>
      <p:sp>
        <p:nvSpPr>
          <p:cNvPr id="11" name="Date Placeholder 6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53565A"/>
                </a:solidFill>
              </a:defRPr>
            </a:lvl1pPr>
          </a:lstStyle>
          <a:p>
            <a:fld id="{C24631AE-162C-7F40-A041-02A23CCEDF0D}" type="datetimeFigureOut">
              <a:rPr lang="en-US" smtClean="0"/>
              <a:pPr/>
              <a:t>2/21/2018</a:t>
            </a:fld>
            <a:endParaRPr lang="en-US"/>
          </a:p>
        </p:txBody>
      </p:sp>
      <p:sp>
        <p:nvSpPr>
          <p:cNvPr id="12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53565A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53565A"/>
                </a:solidFill>
              </a:defRPr>
            </a:lvl1pPr>
          </a:lstStyle>
          <a:p>
            <a:fld id="{7656F264-A8AF-C045-9E7A-50ACEEBDE00C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395934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4" r:id="rId7"/>
    <p:sldLayoutId id="2147483705" r:id="rId8"/>
    <p:sldLayoutId id="2147483707" r:id="rId9"/>
    <p:sldLayoutId id="2147483710" r:id="rId10"/>
    <p:sldLayoutId id="2147483701" r:id="rId11"/>
    <p:sldLayoutId id="2147483702" r:id="rId12"/>
    <p:sldLayoutId id="2147483722" r:id="rId13"/>
    <p:sldLayoutId id="2147483723" r:id="rId14"/>
  </p:sldLayoutIdLst>
  <p:txStyles>
    <p:titleStyle>
      <a:lvl1pPr algn="l" defTabSz="457200" rtl="0" eaLnBrk="1" latinLnBrk="0" hangingPunct="1">
        <a:spcBef>
          <a:spcPct val="0"/>
        </a:spcBef>
        <a:buNone/>
        <a:defRPr sz="2400" b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256032" algn="l" defTabSz="457200" rtl="0" eaLnBrk="1" latinLnBrk="0" hangingPunct="1">
        <a:spcBef>
          <a:spcPts val="480"/>
        </a:spcBef>
        <a:buFont typeface="Arial"/>
        <a:buChar char="•"/>
        <a:defRPr sz="2000" kern="1200">
          <a:solidFill>
            <a:srgbClr val="53565A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/>
        <a:buChar char="–"/>
        <a:defRPr sz="1800" kern="1200">
          <a:solidFill>
            <a:srgbClr val="53565A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 baseline="0">
          <a:solidFill>
            <a:srgbClr val="53565A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 baseline="0">
          <a:solidFill>
            <a:srgbClr val="53565A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 baseline="0">
          <a:solidFill>
            <a:srgbClr val="53565A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 baseline="0">
          <a:solidFill>
            <a:srgbClr val="53565A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hyperlink" Target="http://www.elsevierelibrary.es/" TargetMode="Externa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9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lsevier </a:t>
            </a:r>
            <a:r>
              <a:rPr lang="en-US" dirty="0" err="1"/>
              <a:t>eLibr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s-ES" dirty="0"/>
              <a:t>Como utilizar la herramienta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0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2888" y="453834"/>
            <a:ext cx="8762320" cy="322856"/>
          </a:xfrm>
        </p:spPr>
        <p:txBody>
          <a:bodyPr/>
          <a:lstStyle/>
          <a:p>
            <a:r>
              <a:rPr lang="en-GB" sz="2400" b="1" dirty="0"/>
              <a:t>Presentation Maker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05483" y="934948"/>
            <a:ext cx="5342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err="1">
                <a:solidFill>
                  <a:srgbClr val="007398"/>
                </a:solidFill>
              </a:rPr>
              <a:t>Versión</a:t>
            </a:r>
            <a:r>
              <a:rPr lang="en-GB" dirty="0">
                <a:solidFill>
                  <a:srgbClr val="007398"/>
                </a:solidFill>
              </a:rPr>
              <a:t> </a:t>
            </a:r>
            <a:r>
              <a:rPr lang="en-GB" dirty="0" err="1">
                <a:solidFill>
                  <a:srgbClr val="007398"/>
                </a:solidFill>
              </a:rPr>
              <a:t>ePub</a:t>
            </a:r>
            <a:endParaRPr lang="en-GB" dirty="0">
              <a:solidFill>
                <a:srgbClr val="007398"/>
              </a:solidFill>
            </a:endParaRPr>
          </a:p>
        </p:txBody>
      </p:sp>
      <p:pic>
        <p:nvPicPr>
          <p:cNvPr id="111619" name="Picture 3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8" t="12231" r="2346" b="3412"/>
          <a:stretch/>
        </p:blipFill>
        <p:spPr bwMode="auto">
          <a:xfrm>
            <a:off x="5865426" y="3601560"/>
            <a:ext cx="3139782" cy="1967384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1620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41" t="8597" b="6691"/>
          <a:stretch/>
        </p:blipFill>
        <p:spPr bwMode="auto">
          <a:xfrm>
            <a:off x="404668" y="2827877"/>
            <a:ext cx="4760744" cy="344040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Text Placeholder 12"/>
          <p:cNvSpPr txBox="1">
            <a:spLocks/>
          </p:cNvSpPr>
          <p:nvPr/>
        </p:nvSpPr>
        <p:spPr>
          <a:xfrm>
            <a:off x="243180" y="1404229"/>
            <a:ext cx="3547863" cy="520985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480"/>
              </a:spcBef>
              <a:buFont typeface="Arial"/>
              <a:buNone/>
              <a:defRPr sz="1800" kern="1200" baseline="0">
                <a:solidFill>
                  <a:srgbClr val="00739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80000"/>
              <a:buFont typeface="Arial"/>
              <a:buChar char="–"/>
              <a:defRPr sz="18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Permite capturar imágenes y crear presentaciones:</a:t>
            </a:r>
          </a:p>
          <a:p>
            <a:endParaRPr lang="es-ES" dirty="0"/>
          </a:p>
        </p:txBody>
      </p:sp>
      <p:sp>
        <p:nvSpPr>
          <p:cNvPr id="13" name="Text Placeholder 12"/>
          <p:cNvSpPr txBox="1">
            <a:spLocks/>
          </p:cNvSpPr>
          <p:nvPr/>
        </p:nvSpPr>
        <p:spPr>
          <a:xfrm>
            <a:off x="1345170" y="2206943"/>
            <a:ext cx="3547863" cy="520985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10000"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480"/>
              </a:spcBef>
              <a:buFont typeface="Arial"/>
              <a:buNone/>
              <a:defRPr sz="1800" kern="1200" baseline="0">
                <a:solidFill>
                  <a:srgbClr val="00739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80000"/>
              <a:buFont typeface="Arial"/>
              <a:buChar char="–"/>
              <a:defRPr sz="18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1) Selecciona una imagen y haz clic y sigue los sencillos pasos de se indican:</a:t>
            </a:r>
          </a:p>
          <a:p>
            <a:endParaRPr lang="es-ES" dirty="0"/>
          </a:p>
        </p:txBody>
      </p:sp>
      <p:cxnSp>
        <p:nvCxnSpPr>
          <p:cNvPr id="10" name="Conector recto de flecha 9"/>
          <p:cNvCxnSpPr/>
          <p:nvPr/>
        </p:nvCxnSpPr>
        <p:spPr>
          <a:xfrm>
            <a:off x="5340626" y="4585252"/>
            <a:ext cx="371061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18139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1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2888" y="453834"/>
            <a:ext cx="8762320" cy="322856"/>
          </a:xfrm>
        </p:spPr>
        <p:txBody>
          <a:bodyPr/>
          <a:lstStyle/>
          <a:p>
            <a:r>
              <a:rPr lang="en-GB" sz="2400" b="1" dirty="0"/>
              <a:t>Presentation Maker</a:t>
            </a:r>
          </a:p>
        </p:txBody>
      </p:sp>
      <p:pic>
        <p:nvPicPr>
          <p:cNvPr id="4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1" t="8564" r="2977" b="3558"/>
          <a:stretch/>
        </p:blipFill>
        <p:spPr bwMode="auto">
          <a:xfrm>
            <a:off x="4136909" y="776689"/>
            <a:ext cx="4411099" cy="2784061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" name="Picture 6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886" r="4368"/>
          <a:stretch/>
        </p:blipFill>
        <p:spPr bwMode="auto">
          <a:xfrm>
            <a:off x="243180" y="2041264"/>
            <a:ext cx="3181668" cy="2263883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1618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6"/>
          <a:stretch/>
        </p:blipFill>
        <p:spPr bwMode="auto">
          <a:xfrm>
            <a:off x="3807727" y="3978389"/>
            <a:ext cx="4093014" cy="266958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1270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2" name="Text Placeholder 12"/>
          <p:cNvSpPr txBox="1">
            <a:spLocks/>
          </p:cNvSpPr>
          <p:nvPr/>
        </p:nvSpPr>
        <p:spPr>
          <a:xfrm>
            <a:off x="589046" y="1259786"/>
            <a:ext cx="3547863" cy="5209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457200" rtl="0" eaLnBrk="1" latinLnBrk="0" hangingPunct="1">
              <a:lnSpc>
                <a:spcPct val="100000"/>
              </a:lnSpc>
              <a:spcBef>
                <a:spcPts val="480"/>
              </a:spcBef>
              <a:buFont typeface="Arial"/>
              <a:buNone/>
              <a:defRPr sz="1800" kern="1200" baseline="0">
                <a:solidFill>
                  <a:srgbClr val="007398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80000"/>
              <a:buFont typeface="Arial"/>
              <a:buChar char="–"/>
              <a:defRPr sz="18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/>
              <a:t>…. y crea tu presentación</a:t>
            </a:r>
          </a:p>
        </p:txBody>
      </p:sp>
    </p:spTree>
    <p:extLst>
      <p:ext uri="{BB962C8B-B14F-4D97-AF65-F5344CB8AC3E}">
        <p14:creationId xmlns:p14="http://schemas.microsoft.com/office/powerpoint/2010/main" val="29129058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120032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s-ES" dirty="0"/>
              <a:t>Acceder a </a:t>
            </a:r>
            <a:r>
              <a:rPr lang="es-ES" dirty="0">
                <a:solidFill>
                  <a:srgbClr val="FF0000"/>
                </a:solidFill>
                <a:hlinkClick r:id="rId2"/>
              </a:rPr>
              <a:t>www.elsevierelibrary.es</a:t>
            </a:r>
            <a:endParaRPr lang="es-ES" dirty="0">
              <a:solidFill>
                <a:srgbClr val="FF0000"/>
              </a:solidFill>
            </a:endParaRPr>
          </a:p>
          <a:p>
            <a:pPr marL="342900" indent="-342900">
              <a:buAutoNum type="arabicPeriod"/>
            </a:pPr>
            <a:r>
              <a:rPr lang="es-ES" dirty="0"/>
              <a:t>Comprobar que estás identificados por tu institución. Debe aparecer el nombre de tu centro en la pantalla</a:t>
            </a:r>
          </a:p>
          <a:p>
            <a:pPr marL="342900" indent="-342900">
              <a:buAutoNum type="arabicPeriod"/>
            </a:pPr>
            <a:r>
              <a:rPr lang="es-ES" dirty="0"/>
              <a:t>Registrar y acceder con una cuenta personal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467544" y="2420888"/>
            <a:ext cx="4824536" cy="3885682"/>
            <a:chOff x="395536" y="2420888"/>
            <a:chExt cx="5184576" cy="4173714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95536" y="2420888"/>
              <a:ext cx="5184576" cy="4173714"/>
            </a:xfrm>
            <a:prstGeom prst="rect">
              <a:avLst/>
            </a:prstGeom>
          </p:spPr>
        </p:pic>
        <p:sp>
          <p:nvSpPr>
            <p:cNvPr id="7" name="Right Arrow 6"/>
            <p:cNvSpPr/>
            <p:nvPr/>
          </p:nvSpPr>
          <p:spPr>
            <a:xfrm>
              <a:off x="1547664" y="2852936"/>
              <a:ext cx="648072" cy="216024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10" name="Right Arrow 9"/>
            <p:cNvSpPr/>
            <p:nvPr/>
          </p:nvSpPr>
          <p:spPr>
            <a:xfrm>
              <a:off x="4067944" y="2421567"/>
              <a:ext cx="648072" cy="216024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/>
          <a:srcRect r="44213" b="-7859"/>
          <a:stretch/>
        </p:blipFill>
        <p:spPr>
          <a:xfrm>
            <a:off x="5606254" y="2842040"/>
            <a:ext cx="2952328" cy="2622104"/>
          </a:xfrm>
          <a:prstGeom prst="rect">
            <a:avLst/>
          </a:prstGeom>
        </p:spPr>
      </p:pic>
      <p:cxnSp>
        <p:nvCxnSpPr>
          <p:cNvPr id="15" name="Elbow Connector 14"/>
          <p:cNvCxnSpPr/>
          <p:nvPr/>
        </p:nvCxnSpPr>
        <p:spPr>
          <a:xfrm>
            <a:off x="4139952" y="3789040"/>
            <a:ext cx="2304256" cy="360040"/>
          </a:xfrm>
          <a:prstGeom prst="bentConnector3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81796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3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64633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4"/>
            </a:pPr>
            <a:r>
              <a:rPr lang="es-ES" dirty="0"/>
              <a:t>Accedemos al libro que queremos descargar</a:t>
            </a:r>
          </a:p>
          <a:p>
            <a:pPr marL="342900" indent="-342900">
              <a:buFont typeface="+mj-lt"/>
              <a:buAutoNum type="arabicPeriod" startAt="4"/>
            </a:pPr>
            <a:r>
              <a:rPr lang="es-ES" dirty="0"/>
              <a:t>Clic en la opción LEER FUERA DE </a:t>
            </a:r>
            <a:r>
              <a:rPr lang="es-ES" dirty="0" err="1"/>
              <a:t>LINEA</a:t>
            </a:r>
            <a:endParaRPr lang="es-E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7624" y="2276872"/>
            <a:ext cx="6142857" cy="2895238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 rot="6767859">
            <a:off x="6129280" y="3373530"/>
            <a:ext cx="648072" cy="216024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44380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4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1200329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dirty="0"/>
              <a:t>6. Para poder descargar el contenido se requiere instalar previamente la aplicación IPC Reader en nuestro ordenador (Windows(/</a:t>
            </a:r>
            <a:r>
              <a:rPr lang="es-ES" dirty="0" err="1"/>
              <a:t>OSX</a:t>
            </a:r>
            <a:r>
              <a:rPr lang="es-ES" dirty="0"/>
              <a:t>) o dispositivo. En el caso de iOS o Android debe descargarse la aplicación </a:t>
            </a:r>
            <a:r>
              <a:rPr lang="es-ES" dirty="0" err="1"/>
              <a:t>IpublishCentral</a:t>
            </a:r>
            <a:r>
              <a:rPr lang="es-ES" dirty="0"/>
              <a:t> Reader desde App Store o Google Play.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919150" y="2780928"/>
            <a:ext cx="7177251" cy="3906111"/>
            <a:chOff x="611560" y="2340513"/>
            <a:chExt cx="7177251" cy="3906111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11560" y="2340513"/>
              <a:ext cx="4502318" cy="3128730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Right Arrow 6"/>
            <p:cNvSpPr/>
            <p:nvPr/>
          </p:nvSpPr>
          <p:spPr>
            <a:xfrm rot="8839730" flipV="1">
              <a:off x="3114230" y="3164715"/>
              <a:ext cx="1304768" cy="241285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dirty="0"/>
                <a:t>PC/MAC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339752" y="3904878"/>
              <a:ext cx="3611666" cy="2341746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0" name="Right Arrow 9"/>
            <p:cNvSpPr/>
            <p:nvPr/>
          </p:nvSpPr>
          <p:spPr>
            <a:xfrm rot="5400000">
              <a:off x="3648732" y="3540945"/>
              <a:ext cx="1494086" cy="216024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200" dirty="0"/>
                <a:t>ANDROID</a:t>
              </a:r>
            </a:p>
          </p:txBody>
        </p:sp>
        <p:pic>
          <p:nvPicPr>
            <p:cNvPr id="4099" name="2EDDCF5D-7EBA-4739-92D9-B76D6EAF5BFC" descr="image1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6176" y="2449604"/>
              <a:ext cx="1632635" cy="2910547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ight Arrow 12"/>
            <p:cNvSpPr/>
            <p:nvPr/>
          </p:nvSpPr>
          <p:spPr>
            <a:xfrm>
              <a:off x="4287762" y="2835014"/>
              <a:ext cx="1868413" cy="216024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1400" dirty="0"/>
                <a:t>iOS</a:t>
              </a: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761836" y="2307007"/>
            <a:ext cx="66247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200" dirty="0"/>
              <a:t>* La aplicación para Windows/</a:t>
            </a:r>
            <a:r>
              <a:rPr lang="es-ES" sz="1200" dirty="0" err="1"/>
              <a:t>OSX</a:t>
            </a:r>
            <a:r>
              <a:rPr lang="es-ES" sz="1200" dirty="0"/>
              <a:t> requiere Adobe AIR instalado en el equipo</a:t>
            </a:r>
          </a:p>
        </p:txBody>
      </p:sp>
    </p:spTree>
    <p:extLst>
      <p:ext uri="{BB962C8B-B14F-4D97-AF65-F5344CB8AC3E}">
        <p14:creationId xmlns:p14="http://schemas.microsoft.com/office/powerpoint/2010/main" val="276584817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5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9233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dirty="0"/>
              <a:t>7. Una vez instalado, hacemos clic sobre la flecha verde o clic sobre “Descargar libro” para poder obtener el fichero de descarga del libro. Este fichero debe ser abierto con la aplicación previamente instalada de </a:t>
            </a:r>
            <a:r>
              <a:rPr lang="es-ES" dirty="0" err="1"/>
              <a:t>IpublishCentral</a:t>
            </a:r>
            <a:r>
              <a:rPr lang="es-ES" dirty="0"/>
              <a:t> Read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568" y="2924944"/>
            <a:ext cx="4320480" cy="2472906"/>
          </a:xfrm>
          <a:prstGeom prst="rect">
            <a:avLst/>
          </a:prstGeom>
        </p:spPr>
      </p:pic>
      <p:pic>
        <p:nvPicPr>
          <p:cNvPr id="5122" name="F494690E-5D9D-441A-9AA2-C85715656B41" descr="image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2492896"/>
            <a:ext cx="2058130" cy="3660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ight Arrow 13"/>
          <p:cNvSpPr/>
          <p:nvPr/>
        </p:nvSpPr>
        <p:spPr>
          <a:xfrm rot="8839730" flipV="1">
            <a:off x="3202207" y="4324712"/>
            <a:ext cx="1354534" cy="241285"/>
          </a:xfrm>
          <a:prstGeom prst="rightArrow">
            <a:avLst>
              <a:gd name="adj1" fmla="val 84229"/>
              <a:gd name="adj2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PC/MAC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4355976" y="4005064"/>
            <a:ext cx="1439366" cy="216024"/>
          </a:xfrm>
          <a:prstGeom prst="rightArrow">
            <a:avLst>
              <a:gd name="adj1" fmla="val 96600"/>
              <a:gd name="adj2" fmla="val 5388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400" dirty="0"/>
              <a:t>iOS/Android</a:t>
            </a:r>
          </a:p>
        </p:txBody>
      </p:sp>
    </p:spTree>
    <p:extLst>
      <p:ext uri="{BB962C8B-B14F-4D97-AF65-F5344CB8AC3E}">
        <p14:creationId xmlns:p14="http://schemas.microsoft.com/office/powerpoint/2010/main" val="3745220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3466188"/>
            <a:ext cx="3381658" cy="289264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6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64633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dirty="0"/>
              <a:t>8. Solo se permite descargar el fichero una vez por sesión (24 horas). El fichero descargado debe abrirse con la correspondiente aplicación IPublishCentral Reader</a:t>
            </a:r>
          </a:p>
        </p:txBody>
      </p:sp>
      <p:pic>
        <p:nvPicPr>
          <p:cNvPr id="5122" name="F494690E-5D9D-441A-9AA2-C85715656B41" descr="image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4447" y="2445644"/>
            <a:ext cx="2058130" cy="3660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ight Arrow 13"/>
          <p:cNvSpPr/>
          <p:nvPr/>
        </p:nvSpPr>
        <p:spPr>
          <a:xfrm rot="8839730" flipV="1">
            <a:off x="2978988" y="4503855"/>
            <a:ext cx="1242264" cy="241285"/>
          </a:xfrm>
          <a:prstGeom prst="rightArrow">
            <a:avLst>
              <a:gd name="adj1" fmla="val 84229"/>
              <a:gd name="adj2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PC/MAC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4029222" y="4195233"/>
            <a:ext cx="1224136" cy="216024"/>
          </a:xfrm>
          <a:prstGeom prst="rightArrow">
            <a:avLst>
              <a:gd name="adj1" fmla="val 96600"/>
              <a:gd name="adj2" fmla="val 5388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iOS/Android</a:t>
            </a:r>
          </a:p>
        </p:txBody>
      </p:sp>
      <p:sp>
        <p:nvSpPr>
          <p:cNvPr id="7" name="Oval 6"/>
          <p:cNvSpPr/>
          <p:nvPr/>
        </p:nvSpPr>
        <p:spPr>
          <a:xfrm>
            <a:off x="539552" y="6021288"/>
            <a:ext cx="1080120" cy="5760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ight Arrow 7"/>
          <p:cNvSpPr/>
          <p:nvPr/>
        </p:nvSpPr>
        <p:spPr>
          <a:xfrm flipH="1">
            <a:off x="1706338" y="6106370"/>
            <a:ext cx="2865662" cy="371722"/>
          </a:xfrm>
          <a:prstGeom prst="rightArrow">
            <a:avLst>
              <a:gd name="adj1" fmla="val 10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Fichero descargado para abrir con IPC </a:t>
            </a:r>
            <a:r>
              <a:rPr lang="es-ES" sz="1200" dirty="0" err="1"/>
              <a:t>reader</a:t>
            </a:r>
            <a:endParaRPr lang="es-ES" sz="1200" dirty="0"/>
          </a:p>
        </p:txBody>
      </p:sp>
      <p:pic>
        <p:nvPicPr>
          <p:cNvPr id="6146" name="199BBD9E-6AA8-4BE7-89BD-02D6BA3EB2DF" descr="image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6695" y="2636912"/>
            <a:ext cx="1596513" cy="283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ight Arrow 12"/>
          <p:cNvSpPr/>
          <p:nvPr/>
        </p:nvSpPr>
        <p:spPr>
          <a:xfrm>
            <a:off x="6201802" y="3785171"/>
            <a:ext cx="1497119" cy="371722"/>
          </a:xfrm>
          <a:prstGeom prst="rightArrow">
            <a:avLst>
              <a:gd name="adj1" fmla="val 10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/>
              <a:t>Fichero descargado para abrir con IPC </a:t>
            </a:r>
            <a:r>
              <a:rPr lang="es-ES" sz="900" dirty="0" err="1"/>
              <a:t>reader</a:t>
            </a:r>
            <a:endParaRPr lang="es-ES" sz="900" dirty="0"/>
          </a:p>
        </p:txBody>
      </p:sp>
    </p:spTree>
    <p:extLst>
      <p:ext uri="{BB962C8B-B14F-4D97-AF65-F5344CB8AC3E}">
        <p14:creationId xmlns:p14="http://schemas.microsoft.com/office/powerpoint/2010/main" val="31892582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3466188"/>
            <a:ext cx="3381658" cy="2892644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7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64633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dirty="0"/>
              <a:t>8. Solo se permite descargar el fichero una vez por sesión (24 horas). El fichero descargado debe abrirse con la correspondiente aplicación IPublishCentral Reader</a:t>
            </a:r>
          </a:p>
        </p:txBody>
      </p:sp>
      <p:pic>
        <p:nvPicPr>
          <p:cNvPr id="5122" name="F494690E-5D9D-441A-9AA2-C85715656B41" descr="image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4447" y="2445644"/>
            <a:ext cx="2058130" cy="3660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ight Arrow 13"/>
          <p:cNvSpPr/>
          <p:nvPr/>
        </p:nvSpPr>
        <p:spPr>
          <a:xfrm rot="8839730" flipV="1">
            <a:off x="2978988" y="4503855"/>
            <a:ext cx="1242264" cy="241285"/>
          </a:xfrm>
          <a:prstGeom prst="rightArrow">
            <a:avLst>
              <a:gd name="adj1" fmla="val 84229"/>
              <a:gd name="adj2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PC/MAC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4029222" y="4195233"/>
            <a:ext cx="1224136" cy="216024"/>
          </a:xfrm>
          <a:prstGeom prst="rightArrow">
            <a:avLst>
              <a:gd name="adj1" fmla="val 96600"/>
              <a:gd name="adj2" fmla="val 5388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iOS/Android</a:t>
            </a:r>
          </a:p>
        </p:txBody>
      </p:sp>
      <p:sp>
        <p:nvSpPr>
          <p:cNvPr id="7" name="Oval 6"/>
          <p:cNvSpPr/>
          <p:nvPr/>
        </p:nvSpPr>
        <p:spPr>
          <a:xfrm>
            <a:off x="539552" y="6021288"/>
            <a:ext cx="1080120" cy="57606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Right Arrow 7"/>
          <p:cNvSpPr/>
          <p:nvPr/>
        </p:nvSpPr>
        <p:spPr>
          <a:xfrm flipH="1">
            <a:off x="1706338" y="6106370"/>
            <a:ext cx="2865662" cy="371722"/>
          </a:xfrm>
          <a:prstGeom prst="rightArrow">
            <a:avLst>
              <a:gd name="adj1" fmla="val 10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Fichero descargado para abrir con IPC </a:t>
            </a:r>
            <a:r>
              <a:rPr lang="es-ES" sz="1200" dirty="0" err="1"/>
              <a:t>reader</a:t>
            </a:r>
            <a:endParaRPr lang="es-ES" sz="1200" dirty="0"/>
          </a:p>
        </p:txBody>
      </p:sp>
      <p:pic>
        <p:nvPicPr>
          <p:cNvPr id="6146" name="199BBD9E-6AA8-4BE7-89BD-02D6BA3EB2DF" descr="image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6695" y="2636912"/>
            <a:ext cx="1596513" cy="2839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ight Arrow 12"/>
          <p:cNvSpPr/>
          <p:nvPr/>
        </p:nvSpPr>
        <p:spPr>
          <a:xfrm>
            <a:off x="6201802" y="3785171"/>
            <a:ext cx="1497119" cy="371722"/>
          </a:xfrm>
          <a:prstGeom prst="rightArrow">
            <a:avLst>
              <a:gd name="adj1" fmla="val 100000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900" dirty="0"/>
              <a:t>Fichero descargado para abrir con IPC </a:t>
            </a:r>
            <a:r>
              <a:rPr lang="es-ES" sz="900" dirty="0" err="1"/>
              <a:t>reader</a:t>
            </a:r>
            <a:endParaRPr lang="es-ES" sz="900" dirty="0"/>
          </a:p>
        </p:txBody>
      </p:sp>
    </p:spTree>
    <p:extLst>
      <p:ext uri="{BB962C8B-B14F-4D97-AF65-F5344CB8AC3E}">
        <p14:creationId xmlns:p14="http://schemas.microsoft.com/office/powerpoint/2010/main" val="2977284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8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646331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dirty="0"/>
              <a:t>9. Una vez abierto el fichero con IPC Reader podemos proceder a la descarga desde la aplicación. </a:t>
            </a:r>
          </a:p>
        </p:txBody>
      </p:sp>
      <p:sp>
        <p:nvSpPr>
          <p:cNvPr id="15" name="Right Arrow 14"/>
          <p:cNvSpPr/>
          <p:nvPr/>
        </p:nvSpPr>
        <p:spPr>
          <a:xfrm>
            <a:off x="5364088" y="4710593"/>
            <a:ext cx="1224136" cy="216024"/>
          </a:xfrm>
          <a:prstGeom prst="rightArrow">
            <a:avLst>
              <a:gd name="adj1" fmla="val 96600"/>
              <a:gd name="adj2" fmla="val 5388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iOS/Androi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7544" y="3030246"/>
            <a:ext cx="5520618" cy="1371923"/>
          </a:xfrm>
          <a:prstGeom prst="rect">
            <a:avLst/>
          </a:prstGeom>
        </p:spPr>
      </p:pic>
      <p:sp>
        <p:nvSpPr>
          <p:cNvPr id="14" name="Right Arrow 13"/>
          <p:cNvSpPr/>
          <p:nvPr/>
        </p:nvSpPr>
        <p:spPr>
          <a:xfrm rot="8839730" flipV="1">
            <a:off x="4394835" y="2560347"/>
            <a:ext cx="1242264" cy="241285"/>
          </a:xfrm>
          <a:prstGeom prst="rightArrow">
            <a:avLst>
              <a:gd name="adj1" fmla="val 84229"/>
              <a:gd name="adj2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PC/MAC</a:t>
            </a:r>
          </a:p>
        </p:txBody>
      </p:sp>
      <p:pic>
        <p:nvPicPr>
          <p:cNvPr id="7170" name="A1E0BEDA-8084-4138-8785-E2CB093DCDA8" descr="image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564611"/>
            <a:ext cx="2153781" cy="3806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626468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A15E891-66B8-4B28-AB8F-05A4B1DE573C}" type="slidenum">
              <a:rPr lang="en-US" smtClean="0">
                <a:solidFill>
                  <a:srgbClr val="FFFFFF"/>
                </a:solidFill>
              </a:rPr>
              <a:pPr/>
              <a:t>19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ES" dirty="0"/>
              <a:t>Leer fuera de línea (Offline) – PC/MAC/Laptops/IOS/Android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67544" y="1124744"/>
            <a:ext cx="8080464" cy="92333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ES" dirty="0"/>
              <a:t>10. Una vez finalizada la descarga podemos usar el libro sin conexión a internet. Podemos realizar funciones de subrayado, notas, marcadores y serán sincronizados periódicamente con la versión online del libro en el mismo formato (PDF/</a:t>
            </a:r>
            <a:r>
              <a:rPr lang="es-ES" dirty="0" err="1"/>
              <a:t>ePub</a:t>
            </a:r>
            <a:r>
              <a:rPr lang="es-ES" dirty="0"/>
              <a:t>)</a:t>
            </a:r>
          </a:p>
        </p:txBody>
      </p:sp>
      <p:sp>
        <p:nvSpPr>
          <p:cNvPr id="14" name="Right Arrow 13"/>
          <p:cNvSpPr/>
          <p:nvPr/>
        </p:nvSpPr>
        <p:spPr>
          <a:xfrm rot="10800000" flipV="1">
            <a:off x="3873856" y="3711088"/>
            <a:ext cx="1242264" cy="241285"/>
          </a:xfrm>
          <a:prstGeom prst="rightArrow">
            <a:avLst>
              <a:gd name="adj1" fmla="val 84229"/>
              <a:gd name="adj2" fmla="val 50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200" dirty="0"/>
              <a:t>PC/MAC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2680989"/>
            <a:ext cx="3478320" cy="32581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194" name="E1E7F043-34F3-4954-B73B-6908FCADE46C" descr="image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2416696"/>
            <a:ext cx="2376264" cy="422658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ight Arrow 14"/>
          <p:cNvSpPr/>
          <p:nvPr/>
        </p:nvSpPr>
        <p:spPr>
          <a:xfrm>
            <a:off x="4788024" y="4079531"/>
            <a:ext cx="1224136" cy="216024"/>
          </a:xfrm>
          <a:prstGeom prst="rightArrow">
            <a:avLst>
              <a:gd name="adj1" fmla="val 96600"/>
              <a:gd name="adj2" fmla="val 5388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1100" dirty="0"/>
              <a:t>iOS/Android</a:t>
            </a:r>
          </a:p>
        </p:txBody>
      </p:sp>
    </p:spTree>
    <p:extLst>
      <p:ext uri="{BB962C8B-B14F-4D97-AF65-F5344CB8AC3E}">
        <p14:creationId xmlns:p14="http://schemas.microsoft.com/office/powerpoint/2010/main" val="29253802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5601169" y="1212190"/>
            <a:ext cx="3094349" cy="2584692"/>
            <a:chOff x="4851667" y="1642669"/>
            <a:chExt cx="3218407" cy="2688317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1667" y="1642669"/>
              <a:ext cx="3218407" cy="2688317"/>
            </a:xfrm>
            <a:prstGeom prst="rect">
              <a:avLst/>
            </a:prstGeom>
            <a:effectLst>
              <a:reflection blurRad="6350" stA="52000" endA="300" endPos="35000" dir="5400000" sy="-100000" algn="bl" rotWithShape="0"/>
            </a:effectLst>
          </p:spPr>
        </p:pic>
        <p:pic>
          <p:nvPicPr>
            <p:cNvPr id="7170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414"/>
            <a:stretch/>
          </p:blipFill>
          <p:spPr bwMode="auto">
            <a:xfrm>
              <a:off x="4975725" y="1753237"/>
              <a:ext cx="2970289" cy="1603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a nueva cara de </a:t>
            </a:r>
            <a:r>
              <a:rPr lang="es-ES" dirty="0" err="1"/>
              <a:t>eLibrary</a:t>
            </a:r>
            <a:endParaRPr lang="es-E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Nuevas ventaja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198" y="2093209"/>
            <a:ext cx="3119720" cy="3814532"/>
          </a:xfrm>
        </p:spPr>
        <p:txBody>
          <a:bodyPr>
            <a:normAutofit/>
          </a:bodyPr>
          <a:lstStyle/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s-ES" dirty="0"/>
              <a:t>Diseño responsivo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s-ES" sz="9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s-ES" sz="1700" dirty="0"/>
              <a:t>Ahora </a:t>
            </a:r>
            <a:r>
              <a:rPr lang="es-ES" sz="1700" dirty="0" err="1"/>
              <a:t>eLibrary</a:t>
            </a:r>
            <a:r>
              <a:rPr lang="es-ES" sz="1700" dirty="0"/>
              <a:t> se puede visualizar de forma óptima en cualquier dispositivo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s-ES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s-ES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s-ES" dirty="0"/>
              <a:t>Nuevas funcionalidades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es-ES" sz="9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s-ES" sz="1700" dirty="0"/>
              <a:t>Elsevier </a:t>
            </a:r>
            <a:r>
              <a:rPr lang="es-ES" sz="1700" dirty="0" err="1"/>
              <a:t>eLibrary</a:t>
            </a:r>
            <a:r>
              <a:rPr lang="es-ES" sz="1700" dirty="0"/>
              <a:t> permite cada vez más personalización de los contenidos para mayor comodidad del usuario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039481" y="3254818"/>
            <a:ext cx="2821331" cy="1896230"/>
            <a:chOff x="1916832" y="3124784"/>
            <a:chExt cx="4510296" cy="3031392"/>
          </a:xfrm>
        </p:grpSpPr>
        <p:pic>
          <p:nvPicPr>
            <p:cNvPr id="18" name="Picture 8" descr="https://d3bbjw2ue4gssg.cloudfront.net/assets/ipad_mini_blk-73ed18202ba0763d9abdccb53d5796a2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16832" y="3124784"/>
              <a:ext cx="4510296" cy="303139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19" name="Picture 8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87" t="5939" r="12857" b="7049"/>
            <a:stretch/>
          </p:blipFill>
          <p:spPr bwMode="auto">
            <a:xfrm>
              <a:off x="2373133" y="3275856"/>
              <a:ext cx="3600399" cy="2736304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" name="Group 1"/>
          <p:cNvGrpSpPr/>
          <p:nvPr/>
        </p:nvGrpSpPr>
        <p:grpSpPr>
          <a:xfrm>
            <a:off x="7195780" y="3796882"/>
            <a:ext cx="1224208" cy="2478741"/>
            <a:chOff x="7363752" y="1745344"/>
            <a:chExt cx="1235962" cy="2550886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96" t="5407" r="52331" b="4468"/>
            <a:stretch/>
          </p:blipFill>
          <p:spPr>
            <a:xfrm>
              <a:off x="7363752" y="1745344"/>
              <a:ext cx="1235962" cy="2550886"/>
            </a:xfrm>
            <a:prstGeom prst="roundRect">
              <a:avLst>
                <a:gd name="adj" fmla="val 12209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9" name="Picture 4" descr="C:\Users\SotoL\AppData\Local\Microsoft\Windows\Temporary Internet Files\Content.Outlook\XSY3UJXV\IMG_0360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2763" y="2037653"/>
              <a:ext cx="1090537" cy="19397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456396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Funcionalidades básica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Registro y acceso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200" y="1895096"/>
            <a:ext cx="2985247" cy="4616350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Registrándose en Elsevier </a:t>
            </a:r>
            <a:r>
              <a:rPr lang="es-ES" dirty="0" err="1"/>
              <a:t>eLibrary</a:t>
            </a:r>
            <a:r>
              <a:rPr lang="es-ES" dirty="0"/>
              <a:t>, los usuarios pueden acceder herramientas de estudio y personalización que le ahorraran tiempo y esfuerzo</a:t>
            </a:r>
          </a:p>
          <a:p>
            <a:pPr>
              <a:lnSpc>
                <a:spcPct val="12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El proceso de registro es sencillo e instantáneo</a:t>
            </a:r>
          </a:p>
          <a:p>
            <a:pPr>
              <a:lnSpc>
                <a:spcPct val="12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 Entrar es tan fácil como introducir tu usuario y contraseña, o selecciona la opción de permanecer conectado para mayor comodidad al acced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93" t="7205" r="11984" b="29145"/>
          <a:stretch/>
        </p:blipFill>
        <p:spPr bwMode="auto">
          <a:xfrm>
            <a:off x="4005064" y="1733451"/>
            <a:ext cx="4996879" cy="23521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09" t="13561" r="33118" b="8129"/>
          <a:stretch/>
        </p:blipFill>
        <p:spPr bwMode="auto">
          <a:xfrm>
            <a:off x="6786035" y="3208355"/>
            <a:ext cx="2097742" cy="3060971"/>
          </a:xfrm>
          <a:prstGeom prst="roundRect">
            <a:avLst>
              <a:gd name="adj" fmla="val 5129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53" t="11371" r="14144" b="33513"/>
          <a:stretch/>
        </p:blipFill>
        <p:spPr bwMode="auto">
          <a:xfrm>
            <a:off x="3602298" y="4349334"/>
            <a:ext cx="2267956" cy="1919992"/>
          </a:xfrm>
          <a:prstGeom prst="roundRect">
            <a:avLst>
              <a:gd name="adj" fmla="val 4519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" name="Oval 18"/>
          <p:cNvSpPr/>
          <p:nvPr/>
        </p:nvSpPr>
        <p:spPr>
          <a:xfrm>
            <a:off x="8150523" y="1875520"/>
            <a:ext cx="733254" cy="311868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8338862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Funcionalidades nueva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Crear estantería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198" y="2093209"/>
            <a:ext cx="2966938" cy="4364904"/>
          </a:xfrm>
        </p:spPr>
        <p:txBody>
          <a:bodyPr>
            <a:normAutofit/>
          </a:bodyPr>
          <a:lstStyle/>
          <a:p>
            <a:pPr>
              <a:buClr>
                <a:srgbClr val="FF8200"/>
              </a:buClr>
            </a:pPr>
            <a:r>
              <a:rPr lang="es-ES" dirty="0"/>
              <a:t>En la sección librería puedes crear tus propias estanterías</a:t>
            </a:r>
          </a:p>
          <a:p>
            <a:pPr>
              <a:buClr>
                <a:srgbClr val="FF8200"/>
              </a:buClr>
            </a:pPr>
            <a:endParaRPr lang="es-ES" dirty="0"/>
          </a:p>
          <a:p>
            <a:pPr>
              <a:buClr>
                <a:srgbClr val="FF8200"/>
              </a:buClr>
            </a:pPr>
            <a:r>
              <a:rPr lang="es-ES" dirty="0"/>
              <a:t>Crea cuantas estanterías desees utilizando el botón “Añadir estantería”</a:t>
            </a:r>
          </a:p>
          <a:p>
            <a:pPr>
              <a:buClr>
                <a:srgbClr val="FF8200"/>
              </a:buClr>
            </a:pPr>
            <a:endParaRPr lang="es-ES" dirty="0"/>
          </a:p>
          <a:p>
            <a:pPr>
              <a:buClr>
                <a:srgbClr val="FF8200"/>
              </a:buClr>
            </a:pPr>
            <a:r>
              <a:rPr lang="es-ES" dirty="0"/>
              <a:t>Utilizando la x puedes eliminar una estantería cuando quier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pic>
        <p:nvPicPr>
          <p:cNvPr id="2052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53" t="16679" r="25086" b="10723"/>
          <a:stretch/>
        </p:blipFill>
        <p:spPr bwMode="auto">
          <a:xfrm>
            <a:off x="4572000" y="1341692"/>
            <a:ext cx="4260715" cy="2885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16" t="46477" r="64960" b="14595"/>
          <a:stretch/>
        </p:blipFill>
        <p:spPr bwMode="auto">
          <a:xfrm>
            <a:off x="6494612" y="2587557"/>
            <a:ext cx="2082856" cy="2529191"/>
          </a:xfrm>
          <a:prstGeom prst="roundRect">
            <a:avLst>
              <a:gd name="adj" fmla="val 3175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13" t="45608" r="63906" b="15059"/>
          <a:stretch/>
        </p:blipFill>
        <p:spPr bwMode="auto">
          <a:xfrm>
            <a:off x="3424136" y="3852152"/>
            <a:ext cx="2295728" cy="2605961"/>
          </a:xfrm>
          <a:prstGeom prst="roundRect">
            <a:avLst>
              <a:gd name="adj" fmla="val 4079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Oval 13"/>
          <p:cNvSpPr/>
          <p:nvPr/>
        </p:nvSpPr>
        <p:spPr>
          <a:xfrm>
            <a:off x="4782992" y="3132308"/>
            <a:ext cx="1111969" cy="251727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8" name="Straight Connector 17"/>
          <p:cNvCxnSpPr>
            <a:stCxn id="3074" idx="1"/>
            <a:endCxn id="14" idx="4"/>
          </p:cNvCxnSpPr>
          <p:nvPr/>
        </p:nvCxnSpPr>
        <p:spPr>
          <a:xfrm flipH="1" flipV="1">
            <a:off x="5338977" y="3384035"/>
            <a:ext cx="1155635" cy="468118"/>
          </a:xfrm>
          <a:prstGeom prst="line">
            <a:avLst/>
          </a:prstGeom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Elbow Connector 4"/>
          <p:cNvCxnSpPr/>
          <p:nvPr/>
        </p:nvCxnSpPr>
        <p:spPr>
          <a:xfrm rot="10800000" flipV="1">
            <a:off x="5739320" y="5116748"/>
            <a:ext cx="1796723" cy="1001950"/>
          </a:xfrm>
          <a:prstGeom prst="bentConnector3">
            <a:avLst>
              <a:gd name="adj1" fmla="val -351"/>
            </a:avLst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>
          <a:xfrm>
            <a:off x="5158866" y="5992834"/>
            <a:ext cx="264156" cy="251727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2" name="Oval 21"/>
          <p:cNvSpPr/>
          <p:nvPr/>
        </p:nvSpPr>
        <p:spPr>
          <a:xfrm>
            <a:off x="7391409" y="1771149"/>
            <a:ext cx="369652" cy="251727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4393122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Funcionalidad nueva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Añadir libros a tus estantería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199" y="1895097"/>
            <a:ext cx="4260715" cy="1723592"/>
          </a:xfrm>
        </p:spPr>
        <p:txBody>
          <a:bodyPr>
            <a:normAutofit/>
          </a:bodyPr>
          <a:lstStyle/>
          <a:p>
            <a:pPr>
              <a:buClr>
                <a:srgbClr val="FF8200"/>
              </a:buClr>
            </a:pPr>
            <a:r>
              <a:rPr lang="es-ES" dirty="0"/>
              <a:t>Revisando el catalogo de libros disponibles, puedes añadir todos los libros que desees a cualquiera de tus estanterías cread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35" t="17635" r="12741" b="11695"/>
          <a:stretch/>
        </p:blipFill>
        <p:spPr bwMode="auto">
          <a:xfrm>
            <a:off x="4902743" y="1241714"/>
            <a:ext cx="4124526" cy="22564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33" t="49520" r="37846" b="19291"/>
          <a:stretch/>
        </p:blipFill>
        <p:spPr bwMode="auto">
          <a:xfrm>
            <a:off x="6312669" y="3129276"/>
            <a:ext cx="2684836" cy="1512651"/>
          </a:xfrm>
          <a:prstGeom prst="roundRect">
            <a:avLst>
              <a:gd name="adj" fmla="val 5752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5" name="Oval 14"/>
          <p:cNvSpPr/>
          <p:nvPr/>
        </p:nvSpPr>
        <p:spPr>
          <a:xfrm>
            <a:off x="5871941" y="2422192"/>
            <a:ext cx="344033" cy="251727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18" name="Straight Connector 17"/>
          <p:cNvCxnSpPr>
            <a:stCxn id="2051" idx="0"/>
            <a:endCxn id="15" idx="4"/>
          </p:cNvCxnSpPr>
          <p:nvPr/>
        </p:nvCxnSpPr>
        <p:spPr>
          <a:xfrm flipH="1" flipV="1">
            <a:off x="6043958" y="2673919"/>
            <a:ext cx="1611129" cy="455357"/>
          </a:xfrm>
          <a:prstGeom prst="line">
            <a:avLst/>
          </a:prstGeom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3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85" t="2962" r="16720" b="10690"/>
          <a:stretch/>
        </p:blipFill>
        <p:spPr bwMode="auto">
          <a:xfrm>
            <a:off x="3001015" y="4084737"/>
            <a:ext cx="3433798" cy="2426709"/>
          </a:xfrm>
          <a:prstGeom prst="roundRect">
            <a:avLst>
              <a:gd name="adj" fmla="val 5844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3" name="Elbow Connector 22"/>
          <p:cNvCxnSpPr>
            <a:stCxn id="2051" idx="2"/>
            <a:endCxn id="2053" idx="3"/>
          </p:cNvCxnSpPr>
          <p:nvPr/>
        </p:nvCxnSpPr>
        <p:spPr>
          <a:xfrm rot="5400000">
            <a:off x="6716868" y="4359872"/>
            <a:ext cx="656165" cy="1220274"/>
          </a:xfrm>
          <a:prstGeom prst="bentConnector2">
            <a:avLst/>
          </a:prstGeom>
          <a:ln w="19050"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15"/>
          <p:cNvSpPr txBox="1">
            <a:spLocks/>
          </p:cNvSpPr>
          <p:nvPr/>
        </p:nvSpPr>
        <p:spPr>
          <a:xfrm>
            <a:off x="457213" y="4085618"/>
            <a:ext cx="2431902" cy="23002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256032" algn="l" defTabSz="457200" rtl="0" eaLnBrk="1" latinLnBrk="0" hangingPunct="1">
              <a:spcBef>
                <a:spcPts val="480"/>
              </a:spcBef>
              <a:buFont typeface="Arial"/>
              <a:buChar char="•"/>
              <a:defRPr sz="2000" kern="1200">
                <a:solidFill>
                  <a:srgbClr val="53565A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SzPct val="80000"/>
              <a:buFont typeface="Arial"/>
              <a:buChar char="–"/>
              <a:defRPr sz="1800" kern="1200">
                <a:solidFill>
                  <a:srgbClr val="53565A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SzPct val="90000"/>
              <a:buFont typeface="Courier New"/>
              <a:buChar char="o"/>
              <a:defRPr sz="1600" kern="1200" baseline="0">
                <a:solidFill>
                  <a:srgbClr val="53565A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8200"/>
              </a:buClr>
            </a:pPr>
            <a:r>
              <a:rPr lang="es-ES" dirty="0"/>
              <a:t>Accede rápidamente a todos los libros de una asignatura o área de estudio</a:t>
            </a:r>
          </a:p>
        </p:txBody>
      </p:sp>
    </p:spTree>
    <p:extLst>
      <p:ext uri="{BB962C8B-B14F-4D97-AF65-F5344CB8AC3E}">
        <p14:creationId xmlns:p14="http://schemas.microsoft.com/office/powerpoint/2010/main" val="23771780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erramientas de estudio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Búsqueda sencilla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198" y="2093209"/>
            <a:ext cx="2717076" cy="2747148"/>
          </a:xfrm>
        </p:spPr>
        <p:txBody>
          <a:bodyPr>
            <a:normAutofit fontScale="92500" lnSpcReduction="20000"/>
          </a:bodyPr>
          <a:lstStyle/>
          <a:p>
            <a:pPr>
              <a:lnSpc>
                <a:spcPct val="110000"/>
              </a:lnSpc>
              <a:buClr>
                <a:srgbClr val="FF8200"/>
              </a:buClr>
            </a:pPr>
            <a:r>
              <a:rPr lang="es-ES" dirty="0"/>
              <a:t>Busca palabras y términos de interés en cualquier momento con la barra de búsqueda. </a:t>
            </a:r>
          </a:p>
          <a:p>
            <a:pPr>
              <a:lnSpc>
                <a:spcPct val="11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10000"/>
              </a:lnSpc>
              <a:buClr>
                <a:srgbClr val="FF8200"/>
              </a:buClr>
            </a:pPr>
            <a:r>
              <a:rPr lang="es-ES" dirty="0"/>
              <a:t>Accede al índice de contenidos con un </a:t>
            </a:r>
            <a:r>
              <a:rPr lang="es-ES" dirty="0" err="1"/>
              <a:t>click</a:t>
            </a:r>
            <a:endParaRPr lang="es-ES" dirty="0"/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pic>
        <p:nvPicPr>
          <p:cNvPr id="2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7" t="5939" r="12857" b="7049"/>
          <a:stretch/>
        </p:blipFill>
        <p:spPr bwMode="auto">
          <a:xfrm>
            <a:off x="5237053" y="1286311"/>
            <a:ext cx="3600400" cy="2736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0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6" t="9509" r="67869" b="33967"/>
          <a:stretch/>
        </p:blipFill>
        <p:spPr bwMode="auto">
          <a:xfrm>
            <a:off x="3463738" y="2671950"/>
            <a:ext cx="2216523" cy="3122704"/>
          </a:xfrm>
          <a:prstGeom prst="roundRect">
            <a:avLst>
              <a:gd name="adj" fmla="val 6353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1" name="Straight Connector 10"/>
          <p:cNvCxnSpPr>
            <a:stCxn id="60" idx="3"/>
            <a:endCxn id="30" idx="0"/>
          </p:cNvCxnSpPr>
          <p:nvPr/>
        </p:nvCxnSpPr>
        <p:spPr>
          <a:xfrm flipH="1">
            <a:off x="4572000" y="1523035"/>
            <a:ext cx="827117" cy="114891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0" name="Picture 1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88" t="9994" r="61590" b="22631"/>
          <a:stretch/>
        </p:blipFill>
        <p:spPr bwMode="auto">
          <a:xfrm>
            <a:off x="6672249" y="3177166"/>
            <a:ext cx="2075250" cy="3345356"/>
          </a:xfrm>
          <a:prstGeom prst="roundRect">
            <a:avLst>
              <a:gd name="adj" fmla="val 6810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52" name="Straight Connector 51"/>
          <p:cNvCxnSpPr>
            <a:stCxn id="57" idx="5"/>
            <a:endCxn id="50" idx="0"/>
          </p:cNvCxnSpPr>
          <p:nvPr/>
        </p:nvCxnSpPr>
        <p:spPr>
          <a:xfrm>
            <a:off x="5343611" y="2140389"/>
            <a:ext cx="2366263" cy="1036777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Oval 56"/>
          <p:cNvSpPr/>
          <p:nvPr/>
        </p:nvSpPr>
        <p:spPr>
          <a:xfrm>
            <a:off x="5207761" y="2014743"/>
            <a:ext cx="159158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60" name="Oval 59"/>
          <p:cNvSpPr/>
          <p:nvPr/>
        </p:nvSpPr>
        <p:spPr>
          <a:xfrm>
            <a:off x="5287340" y="1397389"/>
            <a:ext cx="763263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01279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erramientas de estudio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57201" y="1241713"/>
            <a:ext cx="5226423" cy="520985"/>
          </a:xfrm>
        </p:spPr>
        <p:txBody>
          <a:bodyPr>
            <a:normAutofit/>
          </a:bodyPr>
          <a:lstStyle/>
          <a:p>
            <a:r>
              <a:rPr lang="es-ES" dirty="0"/>
              <a:t>Personaliza contenido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3818962" y="1592131"/>
            <a:ext cx="3298454" cy="3208759"/>
          </a:xfrm>
        </p:spPr>
        <p:txBody>
          <a:bodyPr>
            <a:normAutofit fontScale="85000" lnSpcReduction="10000"/>
          </a:bodyPr>
          <a:lstStyle/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Subraya textos para guardar o copiar</a:t>
            </a:r>
          </a:p>
          <a:p>
            <a:pPr>
              <a:lnSpc>
                <a:spcPct val="12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Agrega notas a una página o una selección de texto</a:t>
            </a:r>
          </a:p>
          <a:p>
            <a:pPr>
              <a:lnSpc>
                <a:spcPct val="12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Marca páginas importantes para revisar más tard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pic>
        <p:nvPicPr>
          <p:cNvPr id="2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7" t="5939" r="12857" b="7049"/>
          <a:stretch/>
        </p:blipFill>
        <p:spPr bwMode="auto">
          <a:xfrm>
            <a:off x="193544" y="1895018"/>
            <a:ext cx="3600400" cy="2736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64" t="29876" r="39121" b="41682"/>
          <a:stretch/>
        </p:blipFill>
        <p:spPr bwMode="auto">
          <a:xfrm>
            <a:off x="256378" y="4172875"/>
            <a:ext cx="2560856" cy="2240913"/>
          </a:xfrm>
          <a:prstGeom prst="roundRect">
            <a:avLst>
              <a:gd name="adj" fmla="val 7909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44" name="Straight Connector 43"/>
          <p:cNvCxnSpPr>
            <a:stCxn id="56" idx="6"/>
            <a:endCxn id="46" idx="0"/>
          </p:cNvCxnSpPr>
          <p:nvPr/>
        </p:nvCxnSpPr>
        <p:spPr>
          <a:xfrm>
            <a:off x="326541" y="2416681"/>
            <a:ext cx="4719095" cy="2080328"/>
          </a:xfrm>
          <a:prstGeom prst="line">
            <a:avLst/>
          </a:prstGeom>
          <a:ln w="28575">
            <a:solidFill>
              <a:srgbClr val="00739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1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454" t="28919" r="57091" b="30700"/>
          <a:stretch/>
        </p:blipFill>
        <p:spPr bwMode="auto">
          <a:xfrm>
            <a:off x="4005064" y="4497009"/>
            <a:ext cx="2081144" cy="2063415"/>
          </a:xfrm>
          <a:prstGeom prst="roundRect">
            <a:avLst>
              <a:gd name="adj" fmla="val 8581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1" name="Picture 9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637" t="24223" r="20385" b="26813"/>
          <a:stretch/>
        </p:blipFill>
        <p:spPr bwMode="auto">
          <a:xfrm>
            <a:off x="1500784" y="2152304"/>
            <a:ext cx="2298215" cy="1636408"/>
          </a:xfrm>
          <a:prstGeom prst="roundRect">
            <a:avLst>
              <a:gd name="adj" fmla="val 9193"/>
            </a:avLst>
          </a:prstGeom>
          <a:ln w="19050">
            <a:solidFill>
              <a:srgbClr val="007398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49" name="Straight Connector 48"/>
          <p:cNvCxnSpPr>
            <a:stCxn id="54" idx="4"/>
            <a:endCxn id="42" idx="0"/>
          </p:cNvCxnSpPr>
          <p:nvPr/>
        </p:nvCxnSpPr>
        <p:spPr>
          <a:xfrm>
            <a:off x="246962" y="2644178"/>
            <a:ext cx="1289844" cy="1528697"/>
          </a:xfrm>
          <a:prstGeom prst="line">
            <a:avLst/>
          </a:prstGeom>
          <a:ln w="28575">
            <a:solidFill>
              <a:srgbClr val="00739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stCxn id="58" idx="6"/>
          </p:cNvCxnSpPr>
          <p:nvPr/>
        </p:nvCxnSpPr>
        <p:spPr>
          <a:xfrm>
            <a:off x="317643" y="2244725"/>
            <a:ext cx="1183141" cy="0"/>
          </a:xfrm>
          <a:prstGeom prst="line">
            <a:avLst/>
          </a:prstGeom>
          <a:ln w="28575">
            <a:solidFill>
              <a:srgbClr val="00739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Oval 53"/>
          <p:cNvSpPr/>
          <p:nvPr/>
        </p:nvSpPr>
        <p:spPr>
          <a:xfrm>
            <a:off x="167383" y="2496974"/>
            <a:ext cx="159158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6" name="Oval 55"/>
          <p:cNvSpPr/>
          <p:nvPr/>
        </p:nvSpPr>
        <p:spPr>
          <a:xfrm>
            <a:off x="167383" y="2343079"/>
            <a:ext cx="159158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58" name="Oval 57"/>
          <p:cNvSpPr/>
          <p:nvPr/>
        </p:nvSpPr>
        <p:spPr>
          <a:xfrm>
            <a:off x="158485" y="2171123"/>
            <a:ext cx="159158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grpSp>
        <p:nvGrpSpPr>
          <p:cNvPr id="81" name="Group 80"/>
          <p:cNvGrpSpPr/>
          <p:nvPr/>
        </p:nvGrpSpPr>
        <p:grpSpPr>
          <a:xfrm>
            <a:off x="7214238" y="1429863"/>
            <a:ext cx="1678587" cy="3998274"/>
            <a:chOff x="885319" y="2324283"/>
            <a:chExt cx="1465012" cy="3489554"/>
          </a:xfrm>
        </p:grpSpPr>
        <p:pic>
          <p:nvPicPr>
            <p:cNvPr id="4098" name="Picture 2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1425" t="24561" r="78181" b="6573"/>
            <a:stretch/>
          </p:blipFill>
          <p:spPr bwMode="auto">
            <a:xfrm>
              <a:off x="885319" y="2324283"/>
              <a:ext cx="1465011" cy="2440318"/>
            </a:xfrm>
            <a:prstGeom prst="round2SameRect">
              <a:avLst>
                <a:gd name="adj1" fmla="val 9324"/>
                <a:gd name="adj2" fmla="val 0"/>
              </a:avLst>
            </a:prstGeom>
            <a:noFill/>
            <a:ln w="19050">
              <a:solidFill>
                <a:srgbClr val="007398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82" name="Content Placeholder 15"/>
            <p:cNvSpPr txBox="1">
              <a:spLocks/>
            </p:cNvSpPr>
            <p:nvPr/>
          </p:nvSpPr>
          <p:spPr>
            <a:xfrm>
              <a:off x="885319" y="4737738"/>
              <a:ext cx="1465012" cy="1076099"/>
            </a:xfrm>
            <a:prstGeom prst="round2SameRect">
              <a:avLst>
                <a:gd name="adj1" fmla="val 0"/>
                <a:gd name="adj2" fmla="val 6041"/>
              </a:avLst>
            </a:prstGeom>
            <a:solidFill>
              <a:srgbClr val="007398"/>
            </a:solidFill>
            <a:ln w="38100">
              <a:solidFill>
                <a:srgbClr val="007398"/>
              </a:solidFill>
            </a:ln>
          </p:spPr>
          <p:txBody>
            <a:bodyPr vert="horz" lIns="0" tIns="36000" rIns="0" bIns="0" rtlCol="0">
              <a:noAutofit/>
            </a:bodyPr>
            <a:lstStyle>
              <a:lvl1pPr marL="342900" indent="-256032" algn="l" defTabSz="457200" rtl="0" eaLnBrk="1" latinLnBrk="0" hangingPunct="1">
                <a:spcBef>
                  <a:spcPts val="480"/>
                </a:spcBef>
                <a:buFont typeface="Arial"/>
                <a:buChar char="•"/>
                <a:defRPr sz="2000" kern="1200">
                  <a:solidFill>
                    <a:srgbClr val="53565A"/>
                  </a:solidFill>
                  <a:latin typeface="Arial"/>
                  <a:ea typeface="+mn-ea"/>
                  <a:cs typeface="Arial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SzPct val="80000"/>
                <a:buFont typeface="Arial"/>
                <a:buChar char="–"/>
                <a:defRPr sz="1800" kern="1200">
                  <a:solidFill>
                    <a:srgbClr val="53565A"/>
                  </a:solidFill>
                  <a:latin typeface="Arial"/>
                  <a:ea typeface="+mn-ea"/>
                  <a:cs typeface="Arial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>
                  <a:solidFill>
                    <a:srgbClr val="53565A"/>
                  </a:solidFill>
                  <a:latin typeface="Arial"/>
                  <a:ea typeface="+mn-ea"/>
                  <a:cs typeface="Arial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>
                  <a:solidFill>
                    <a:srgbClr val="53565A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>
                  <a:solidFill>
                    <a:srgbClr val="53565A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 baseline="0">
                  <a:solidFill>
                    <a:srgbClr val="53565A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 baseline="0">
                  <a:solidFill>
                    <a:srgbClr val="53565A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 baseline="0">
                  <a:solidFill>
                    <a:srgbClr val="53565A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SzPct val="90000"/>
                <a:buFont typeface="Courier New"/>
                <a:buChar char="o"/>
                <a:defRPr sz="1600" kern="1200" baseline="0">
                  <a:solidFill>
                    <a:srgbClr val="53565A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86868" indent="0">
                <a:buClr>
                  <a:srgbClr val="FF8200"/>
                </a:buClr>
                <a:buNone/>
              </a:pPr>
              <a:r>
                <a:rPr lang="es-ES" sz="1200" dirty="0">
                  <a:solidFill>
                    <a:schemeClr val="bg1"/>
                  </a:solidFill>
                </a:rPr>
                <a:t>Siempre puedes acceder fácilmente a todos tus marcadores, notas y destacados, utilizando la barra a la izquierd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596016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Herramientas de estudio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s-ES" dirty="0"/>
              <a:t>Enlaces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197" y="2093209"/>
            <a:ext cx="3157371" cy="3615452"/>
          </a:xfrm>
        </p:spPr>
        <p:txBody>
          <a:bodyPr>
            <a:normAutofit/>
          </a:bodyPr>
          <a:lstStyle/>
          <a:p>
            <a:pPr>
              <a:buClr>
                <a:srgbClr val="FF8200"/>
              </a:buClr>
            </a:pPr>
            <a:r>
              <a:rPr lang="es-ES" dirty="0"/>
              <a:t>Saca citas y enlaces directos fácil y rápidamente con la herramienta de referencia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pic>
        <p:nvPicPr>
          <p:cNvPr id="24" name="Picture 8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87" t="5939" r="12857" b="7049"/>
          <a:stretch/>
        </p:blipFill>
        <p:spPr bwMode="auto">
          <a:xfrm>
            <a:off x="5253619" y="1252990"/>
            <a:ext cx="3600400" cy="2736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17" t="22200" r="29567" b="45104"/>
          <a:stretch/>
        </p:blipFill>
        <p:spPr bwMode="auto">
          <a:xfrm>
            <a:off x="3122198" y="4116663"/>
            <a:ext cx="3364856" cy="1952482"/>
          </a:xfrm>
          <a:prstGeom prst="roundRect">
            <a:avLst>
              <a:gd name="adj" fmla="val 8696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36" name="Straight Connector 35"/>
          <p:cNvCxnSpPr>
            <a:stCxn id="49" idx="3"/>
            <a:endCxn id="34" idx="0"/>
          </p:cNvCxnSpPr>
          <p:nvPr/>
        </p:nvCxnSpPr>
        <p:spPr>
          <a:xfrm flipH="1">
            <a:off x="4804626" y="1475310"/>
            <a:ext cx="2287675" cy="2641353"/>
          </a:xfrm>
          <a:prstGeom prst="line">
            <a:avLst/>
          </a:prstGeom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Oval 48"/>
          <p:cNvSpPr/>
          <p:nvPr/>
        </p:nvSpPr>
        <p:spPr>
          <a:xfrm>
            <a:off x="7068993" y="1349664"/>
            <a:ext cx="159158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2145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La nueva cara de </a:t>
            </a:r>
            <a:r>
              <a:rPr lang="es-ES" dirty="0" err="1"/>
              <a:t>eLibrary</a:t>
            </a:r>
            <a:endParaRPr lang="es-E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57201" y="1241713"/>
            <a:ext cx="3547863" cy="520985"/>
          </a:xfrm>
        </p:spPr>
        <p:txBody>
          <a:bodyPr>
            <a:normAutofit fontScale="92500" lnSpcReduction="20000"/>
          </a:bodyPr>
          <a:lstStyle/>
          <a:p>
            <a:r>
              <a:rPr lang="es-ES" dirty="0"/>
              <a:t>Personaliza contenidos para facilitar el estudio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idx="13"/>
          </p:nvPr>
        </p:nvSpPr>
        <p:spPr>
          <a:xfrm>
            <a:off x="457198" y="2148156"/>
            <a:ext cx="3451414" cy="3596668"/>
          </a:xfrm>
        </p:spPr>
        <p:txBody>
          <a:bodyPr>
            <a:normAutofit fontScale="77500" lnSpcReduction="20000"/>
          </a:bodyPr>
          <a:lstStyle/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También puedes acceder rápidamente a todos tus marcadores, destacados y notas en la sección “Mi actividad”</a:t>
            </a:r>
          </a:p>
          <a:p>
            <a:pPr>
              <a:lnSpc>
                <a:spcPct val="12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Visualiza todos los libros donde tienes un contenido destacado o notas</a:t>
            </a:r>
          </a:p>
          <a:p>
            <a:pPr>
              <a:lnSpc>
                <a:spcPct val="120000"/>
              </a:lnSpc>
              <a:buClr>
                <a:srgbClr val="FF8200"/>
              </a:buClr>
            </a:pPr>
            <a:endParaRPr lang="es-ES" dirty="0"/>
          </a:p>
          <a:p>
            <a:pPr>
              <a:lnSpc>
                <a:spcPct val="120000"/>
              </a:lnSpc>
              <a:buClr>
                <a:srgbClr val="FF8200"/>
              </a:buClr>
            </a:pPr>
            <a:r>
              <a:rPr lang="es-ES" dirty="0"/>
              <a:t>Exporta todo el contenido guardado a Excel para revisar más tarde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005064" y="7721235"/>
            <a:ext cx="23076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dirty="0">
                <a:solidFill>
                  <a:schemeClr val="bg1"/>
                </a:solidFill>
                <a:latin typeface="Nexus Sans Offc Pro" panose="020B0504030101020102" pitchFamily="34" charset="0"/>
                <a:cs typeface="Nexus Sans Offc Pro" panose="020B0504030101020102" pitchFamily="34" charset="0"/>
              </a:rPr>
              <a:t>El profesor puede…</a:t>
            </a:r>
          </a:p>
        </p:txBody>
      </p:sp>
      <p:sp>
        <p:nvSpPr>
          <p:cNvPr id="58" name="Oval 57"/>
          <p:cNvSpPr/>
          <p:nvPr/>
        </p:nvSpPr>
        <p:spPr>
          <a:xfrm>
            <a:off x="6967181" y="1689096"/>
            <a:ext cx="482489" cy="147204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64" t="6973" r="14033" b="8609"/>
          <a:stretch/>
        </p:blipFill>
        <p:spPr bwMode="auto">
          <a:xfrm>
            <a:off x="4231339" y="1658833"/>
            <a:ext cx="4661647" cy="30390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20" r="4840" b="24984"/>
          <a:stretch/>
        </p:blipFill>
        <p:spPr bwMode="auto">
          <a:xfrm>
            <a:off x="3681964" y="4978202"/>
            <a:ext cx="4165785" cy="1533244"/>
          </a:xfrm>
          <a:prstGeom prst="roundRect">
            <a:avLst>
              <a:gd name="adj" fmla="val 9066"/>
            </a:avLst>
          </a:prstGeom>
          <a:noFill/>
          <a:ln w="19050">
            <a:solidFill>
              <a:srgbClr val="007398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6" name="Oval 55"/>
          <p:cNvSpPr/>
          <p:nvPr/>
        </p:nvSpPr>
        <p:spPr>
          <a:xfrm>
            <a:off x="6153510" y="2632250"/>
            <a:ext cx="1134795" cy="220806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cxnSp>
        <p:nvCxnSpPr>
          <p:cNvPr id="44" name="Straight Connector 43"/>
          <p:cNvCxnSpPr>
            <a:stCxn id="5123" idx="0"/>
          </p:cNvCxnSpPr>
          <p:nvPr/>
        </p:nvCxnSpPr>
        <p:spPr>
          <a:xfrm flipV="1">
            <a:off x="5764857" y="2853056"/>
            <a:ext cx="976887" cy="2125146"/>
          </a:xfrm>
          <a:prstGeom prst="line">
            <a:avLst/>
          </a:prstGeom>
          <a:ln w="28575">
            <a:solidFill>
              <a:srgbClr val="00739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8204564" y="2148156"/>
            <a:ext cx="616707" cy="220806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8" name="Oval 27"/>
          <p:cNvSpPr/>
          <p:nvPr/>
        </p:nvSpPr>
        <p:spPr>
          <a:xfrm>
            <a:off x="6949249" y="1652295"/>
            <a:ext cx="500421" cy="220806"/>
          </a:xfrm>
          <a:prstGeom prst="ellipse">
            <a:avLst/>
          </a:prstGeom>
          <a:noFill/>
          <a:ln w="19050">
            <a:solidFill>
              <a:srgbClr val="007398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01984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lsevier Title Slides">
  <a:themeElements>
    <a:clrScheme name="Elsevier_default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100" dirty="0" err="1" smtClean="0">
            <a:solidFill>
              <a:schemeClr val="tx2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815DCDC76E5A47A176FB52CE6ED02E" ma:contentTypeVersion="1" ma:contentTypeDescription="Create a new document." ma:contentTypeScope="" ma:versionID="595b1facca9e5cb9707c1ffef65eb2e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d6e3d604101a5d093af696c7f54afe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04FD396-7CC6-4B8B-833E-64A7BBC7BEC0}">
  <ds:schemaRefs>
    <ds:schemaRef ds:uri="http://www.w3.org/XML/1998/namespace"/>
    <ds:schemaRef ds:uri="http://purl.org/dc/terms/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EF00F91-AC01-4F42-97AE-BC6EEC694C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60636EB-6CD3-4E49-A514-373E3E74774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77</TotalTime>
  <Words>760</Words>
  <Application>Microsoft Office PowerPoint</Application>
  <PresentationFormat>Presentación en pantalla (4:3)</PresentationFormat>
  <Paragraphs>113</Paragraphs>
  <Slides>19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9</vt:i4>
      </vt:variant>
    </vt:vector>
  </HeadingPairs>
  <TitlesOfParts>
    <vt:vector size="25" baseType="lpstr">
      <vt:lpstr>Arial</vt:lpstr>
      <vt:lpstr>Calibri</vt:lpstr>
      <vt:lpstr>Courier New</vt:lpstr>
      <vt:lpstr>Nexus Sans Offc Pro</vt:lpstr>
      <vt:lpstr>Elsevier Title Slides</vt:lpstr>
      <vt:lpstr>think-cell Slide</vt:lpstr>
      <vt:lpstr>Elsevier eLibrary</vt:lpstr>
      <vt:lpstr>La nueva cara de eLibrary</vt:lpstr>
      <vt:lpstr>Funcionalidades básicas</vt:lpstr>
      <vt:lpstr>Funcionalidades nuevas</vt:lpstr>
      <vt:lpstr>Funcionalidad nuevas</vt:lpstr>
      <vt:lpstr>Herramientas de estudio</vt:lpstr>
      <vt:lpstr>Herramientas de estudio</vt:lpstr>
      <vt:lpstr>Herramientas de estudio</vt:lpstr>
      <vt:lpstr>La nueva cara de eLibrary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tt McT</dc:creator>
  <cp:lastModifiedBy>Romero Poveda, Teresa Maria</cp:lastModifiedBy>
  <cp:revision>146</cp:revision>
  <dcterms:created xsi:type="dcterms:W3CDTF">2014-04-04T18:39:02Z</dcterms:created>
  <dcterms:modified xsi:type="dcterms:W3CDTF">2018-02-21T13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815DCDC76E5A47A176FB52CE6ED02E</vt:lpwstr>
  </property>
</Properties>
</file>